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8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73A2243-3B5B-41E3-BCE3-8A099948C4DE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吹瓶空气回收量高达</a:t>
            </a:r>
            <a:r>
              <a:rPr dirty="0">
                <a:latin typeface="+mn-lt"/>
                <a:cs typeface="FZZhunYuan-M02S"/>
              </a:rPr>
              <a:t>60%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2938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>
                <a:cs typeface="FZZhunYuan-M02S"/>
              </a:rPr>
              <a:t>ARK</a:t>
            </a:r>
            <a:r>
              <a:rPr lang="en-US" altLang="fr-FR" dirty="0">
                <a:latin typeface="FZZhunYuan-M02S"/>
                <a:cs typeface="FZZhunYuan-M02S"/>
              </a:rPr>
              <a:t>：耐热工艺空气回收套件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价值：优化成本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, </a:t>
            </a:r>
            <a:r>
              <a:rPr lang="ja-JP" altLang="fr-FR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采用耐热生产工艺的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eries 2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</a:t>
            </a:r>
            <a:endParaRPr kumimoji="0" lang="zh-CN" altLang="fr-FR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采用空气回收选件，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可回收半数以上的生产用气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并将其转化为预吹瓶和生产气体，另外，还可用于生成工厂用气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另一重要优势在于，该选件可与机器完美集成：与空气回收选件相关的设置可记录在工艺配方中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减少投资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（仅需要较小型的空气压缩机）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可回收高达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60%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的生产用气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FZZhunYuan-M02S"/>
                          <a:cs typeface="FZZhunYuan-M02S"/>
                        </a:rPr>
                        <a:t>（生产热定型包装瓶）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空气回收量与吹瓶机类型有关，另外还取决于生产条件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产出率、吹瓶站数量、预吹瓶气压和吹瓶气压、包装瓶容量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回收后的空气可重新使用，作为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cs typeface="FZZhunYuan-M02S"/>
                      </a:endParaRP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预吹瓶空气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拉伸气缸和吹嘴气缸空气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从机器出来的低压气体（吹瓶机相当于低压压缩机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）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要安装此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O&amp;U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（选项与升级），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PCC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版本不能低于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V2.02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。如低于此版本，必须升级</a:t>
                      </a:r>
                      <a:r>
                        <a:rPr kumimoji="0" lang="fr-FR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PCC</a:t>
                      </a:r>
                      <a:r>
                        <a:rPr kumimoji="0" lang="zh-CN" alt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ea typeface="+mn-ea"/>
                          <a:cs typeface="FZZhunYuan-M02S"/>
                        </a:rPr>
                        <a:t>才能安装。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/>
                        <a:ea typeface="+mn-ea"/>
                        <a:cs typeface="FZZhunYuan-M02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9719" y="4361035"/>
            <a:ext cx="1425038" cy="1263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9E575063-747C-4FF5-9B74-4D081BB9D9C7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</p:spTree>
    <p:extLst>
      <p:ext uri="{BB962C8B-B14F-4D97-AF65-F5344CB8AC3E}">
        <p14:creationId xmlns:p14="http://schemas.microsoft.com/office/powerpoint/2010/main" val="2606246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10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Arial</vt:lpstr>
      <vt:lpstr>FZZhunYuan-M02S</vt:lpstr>
      <vt:lpstr>Wingdings</vt:lpstr>
      <vt:lpstr>LIOMT</vt:lpstr>
      <vt:lpstr>think-cell Folie</vt:lpstr>
      <vt:lpstr>吹瓶空气回收量高达60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4</cp:revision>
  <dcterms:created xsi:type="dcterms:W3CDTF">2014-05-22T13:23:46Z</dcterms:created>
  <dcterms:modified xsi:type="dcterms:W3CDTF">2019-10-10T13:0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4:01.4836736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